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71" r:id="rId2"/>
    <p:sldId id="256" r:id="rId3"/>
    <p:sldId id="304" r:id="rId4"/>
    <p:sldId id="305" r:id="rId5"/>
    <p:sldId id="301" r:id="rId6"/>
    <p:sldId id="303" r:id="rId7"/>
    <p:sldId id="307" r:id="rId8"/>
    <p:sldId id="302" r:id="rId9"/>
    <p:sldId id="306" r:id="rId10"/>
    <p:sldId id="298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>
        <p:scale>
          <a:sx n="75" d="100"/>
          <a:sy n="75" d="100"/>
        </p:scale>
        <p:origin x="312" y="8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25151D-A3F8-4D9B-8283-2A03A0A12D56}" type="datetimeFigureOut">
              <a:rPr lang="en-US" smtClean="0"/>
              <a:t>1/2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437DCC-746C-4219-8619-BD9182452C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945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525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6162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845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58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201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5388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0829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2062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689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0CF34-260E-4535-99D4-C76124FFCB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8A65B8-31D5-4964-A973-F190979C4D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F3825D-50A0-4389-9729-42FA25E4E6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E325-5132-4580-9B36-CF43A986F4AA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734D10-B622-4355-AFBC-7CE2964C8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A41821-32F7-4027-AAEF-2145ECFD95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FD17B-02F8-436B-9E2E-20148D0F3E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165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0E2671-E10C-468E-B39F-379E229BB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D2A943-C745-49FF-8EB6-D2A7FC84F3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D7AB1E-9A51-494D-822C-59194E5A4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E325-5132-4580-9B36-CF43A986F4AA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0049B6-F726-4EC1-A171-B797A5983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332B0E-6E0D-4AB7-9575-BB9F49AD3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FD17B-02F8-436B-9E2E-20148D0F3E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9181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3105F68-B57F-49E2-B7F9-D909AAE8A8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94F04F-A951-4FB9-BD64-A27CEF010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060C1F-6A22-4BCF-A393-BD952AD22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E325-5132-4580-9B36-CF43A986F4AA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DCFDC1-CF38-40B0-AFC0-E1D6BAD4E8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E00F2F-7C2B-4ACF-86D1-156A4D513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FD17B-02F8-436B-9E2E-20148D0F3E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609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line">
    <p:bg bwMode="black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9944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3702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AC2D9-7D6D-4333-94B5-A6917A1ED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41FFB6-3F1C-4C05-874A-80C3763568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FF43C1-74E7-489A-A58C-AAA178F1C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E325-5132-4580-9B36-CF43A986F4AA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6F295E-43B4-45BA-BF90-DF9874E4C9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9C1061-23B5-4535-BF3F-38B56107F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FD17B-02F8-436B-9E2E-20148D0F3E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95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217DB1-F6CD-413D-A8DE-3D00BE527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99B4E4-3836-4E3D-B4AE-91F0C4196A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F540D1-A1D7-49FC-89A7-C630D2238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E325-5132-4580-9B36-CF43A986F4AA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B114D-B75A-44B7-B013-6CE59CE3E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A0CC32-BB74-4113-9FF7-9D557EBE9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FD17B-02F8-436B-9E2E-20148D0F3E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011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72B9E4-D480-4DE2-88D6-726ACD645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90E34C-86B2-4D64-B048-3D2CC73FEE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9D0039-2F04-4A3C-A7F5-B671981166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66D90F-8C4D-42BD-81B1-75385F78D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E325-5132-4580-9B36-CF43A986F4AA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7A6AF8-B132-4589-BA9D-5745CF552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1BFF35-ACF9-4696-97AD-7F280C2E1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FD17B-02F8-436B-9E2E-20148D0F3E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1504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2FFD76-03D2-4D5B-BBD6-1721159BA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74B8E9-6759-43C2-95F4-ADBDB5244D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4C23AB-6455-485B-A662-26E99B55FF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A3527D-89CB-4C0B-BC8E-0531F7E019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BCA6C76-73DD-4F21-989E-BA2E70472B3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CED643-382A-421A-8E03-2CCFE74E80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E325-5132-4580-9B36-CF43A986F4AA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50B0B98-6E67-4EC3-ABA2-C2687D5E9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2746C3-272A-4D3D-B0E5-14FAFD4F1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FD17B-02F8-436B-9E2E-20148D0F3E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2669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BCFF6-0555-46A1-82D9-9D450CC4A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F8A7CE-D0E1-4155-ABA6-7833EFF175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E325-5132-4580-9B36-CF43A986F4AA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C2C3EF-ABCB-41E8-B285-6BD78F780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65080E-7B2B-4176-BF2A-25E912A6D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FD17B-02F8-436B-9E2E-20148D0F3E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11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C7F5896-E5D4-43A7-BC27-EFFAEC9225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E325-5132-4580-9B36-CF43A986F4AA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40C2BB-7DE1-42E2-9482-12148578FC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3F6AD-748C-44A5-8388-71D2F6F0A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FD17B-02F8-436B-9E2E-20148D0F3E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141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AE8B6-B020-4317-9828-F75691F4C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DDED2E-825E-4852-8A0A-04AE759B1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E0ACA3-63CC-4A3B-B7E7-9AC1440EE1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A7B2A6-8857-4BE9-A67D-DEFA5D6B0E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E325-5132-4580-9B36-CF43A986F4AA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9BB388-6B5E-40A4-8264-2068D0C92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0F19AD-6934-4ED6-BF78-D438A3BBA9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FD17B-02F8-436B-9E2E-20148D0F3E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6893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349288-E0EF-4332-82B2-7F51AFA9B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88DCCA-B5B9-4C82-8226-4C279626527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D15ECF-F48D-4B35-91FE-00AFF4C52B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612063-8D45-4E68-B8AE-4AA3A44CBB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E325-5132-4580-9B36-CF43A986F4AA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B9ED51-BDE4-4FAC-A330-9658F05F4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C2C3E-8728-4A34-A4A5-F08E2F27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FD17B-02F8-436B-9E2E-20148D0F3E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906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CEEEA7D-7526-40CE-B951-EDA799985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B3BD17-3D48-45FC-BF17-E879FA710E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33B387-560B-4966-89A7-6452768A3D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23E325-5132-4580-9B36-CF43A986F4AA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4210ED-8D87-41BD-95CD-C7EDE31E9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185ABF-61C7-4AD5-838C-818130A49B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4FD17B-02F8-436B-9E2E-20148D0F3E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454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20.emf"/><Relationship Id="rId5" Type="http://schemas.openxmlformats.org/officeDocument/2006/relationships/image" Target="../media/image14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1" name="Rectangle 8">
            <a:extLst>
              <a:ext uri="{FF2B5EF4-FFF2-40B4-BE49-F238E27FC236}">
                <a16:creationId xmlns:a16="http://schemas.microsoft.com/office/drawing/2014/main" id="{54FBBAC2-60D5-4C41-BD27-92922F6E84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10">
            <a:extLst>
              <a:ext uri="{FF2B5EF4-FFF2-40B4-BE49-F238E27FC236}">
                <a16:creationId xmlns:a16="http://schemas.microsoft.com/office/drawing/2014/main" id="{EA0E0DF2-000A-42F4-9A07-59CE1A225A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C82E858-0F52-47CE-A3D1-8EA1322AC62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" name="Rectangle 12">
              <a:extLst>
                <a:ext uri="{FF2B5EF4-FFF2-40B4-BE49-F238E27FC236}">
                  <a16:creationId xmlns:a16="http://schemas.microsoft.com/office/drawing/2014/main" id="{B3DD6121-76D3-467E-A5AA-4D50FFA1C3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4">
                <a:lumMod val="75000"/>
                <a:alpha val="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4" name="Rectangle 14">
            <a:extLst>
              <a:ext uri="{FF2B5EF4-FFF2-40B4-BE49-F238E27FC236}">
                <a16:creationId xmlns:a16="http://schemas.microsoft.com/office/drawing/2014/main" id="{59EAD2C6-89D0-435B-9B8C-E3240DEABD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585" y="3716338"/>
            <a:ext cx="12193585" cy="3141661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2200" y="4521191"/>
            <a:ext cx="10007599" cy="675441"/>
          </a:xfrm>
        </p:spPr>
        <p:txBody>
          <a:bodyPr vert="horz" wrap="square" lIns="91440" tIns="45720" rIns="91440" bIns="45720" rtlCol="0" anchor="b">
            <a:normAutofit/>
          </a:bodyPr>
          <a:lstStyle/>
          <a:p>
            <a:r>
              <a:rPr lang="en-US" sz="4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lassification (January 2022)</a:t>
            </a:r>
          </a:p>
        </p:txBody>
      </p:sp>
      <p:sp>
        <p:nvSpPr>
          <p:cNvPr id="4" name="BcgText 1"/>
          <p:cNvSpPr txBox="1"/>
          <p:nvPr userDrawn="1">
            <p:custDataLst>
              <p:tags r:id="rId2"/>
            </p:custDataLst>
          </p:nvPr>
        </p:nvSpPr>
        <p:spPr>
          <a:xfrm>
            <a:off x="1092200" y="5265738"/>
            <a:ext cx="10007599" cy="643253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rm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4000" kern="1200" dirty="0">
                <a:solidFill>
                  <a:schemeClr val="tx1">
                    <a:alpha val="60000"/>
                  </a:schemeClr>
                </a:solidFill>
                <a:latin typeface="+mn-lt"/>
                <a:ea typeface="+mn-ea"/>
                <a:cs typeface="+mn-cs"/>
              </a:rPr>
              <a:t>Metis – Data Science Flex Module </a:t>
            </a:r>
            <a:r>
              <a:rPr lang="en-US" sz="4000" dirty="0">
                <a:solidFill>
                  <a:schemeClr val="tx1">
                    <a:alpha val="60000"/>
                  </a:schemeClr>
                </a:solidFill>
              </a:rPr>
              <a:t>4</a:t>
            </a:r>
            <a:r>
              <a:rPr lang="en-US" sz="4000" kern="1200" dirty="0">
                <a:solidFill>
                  <a:schemeClr val="tx1">
                    <a:alpha val="6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961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4C2AC11E-3162-4990-A36E-92B07ECF16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9073D962-D3D2-4A72-8593-65C213CBFF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9574" y="633619"/>
            <a:ext cx="4520912" cy="5495925"/>
          </a:xfrm>
          <a:prstGeom prst="rect">
            <a:avLst/>
          </a:prstGeom>
          <a:ln w="9525">
            <a:solidFill>
              <a:srgbClr val="DEDEDE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77456" y="1421318"/>
            <a:ext cx="3721608" cy="78371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dirty="0" err="1">
                <a:cs typeface="Helvetica" panose="020B0604020202020204" pitchFamily="34" charset="0"/>
              </a:rPr>
              <a:t>XGBoost</a:t>
            </a:r>
            <a:r>
              <a:rPr lang="en-US" sz="2800" dirty="0">
                <a:cs typeface="Helvetica" panose="020B0604020202020204" pitchFamily="34" charset="0"/>
              </a:rPr>
              <a:t> Mode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387511B-F6E1-4929-AC90-94FB8B6B0F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45565" y="1181536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A58F78C-27AB-465F-AA33-15E08AF267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7456" y="2185416"/>
            <a:ext cx="3683187" cy="9144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4FE560B-6ADE-4E1D-9619-26DBDF21510C}"/>
              </a:ext>
            </a:extLst>
          </p:cNvPr>
          <p:cNvSpPr txBox="1">
            <a:spLocks/>
          </p:cNvSpPr>
          <p:nvPr/>
        </p:nvSpPr>
        <p:spPr>
          <a:xfrm>
            <a:off x="835739" y="2204789"/>
            <a:ext cx="3721608" cy="5599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00" dirty="0">
                <a:latin typeface="Helvetica" panose="020B0604020202020204" pitchFamily="34" charset="0"/>
                <a:cs typeface="Helvetica" panose="020B0604020202020204" pitchFamily="34" charset="0"/>
              </a:rPr>
              <a:t>Hyperparameter tuning and before/after scores:</a:t>
            </a:r>
          </a:p>
          <a:p>
            <a:pPr marL="0" indent="0">
              <a:buNone/>
            </a:pPr>
            <a:endParaRPr lang="en-US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9E905D7-D9B2-4439-83BA-031F7D5E64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1235" y="3773021"/>
            <a:ext cx="3753277" cy="295244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C61404A-E2B6-49ED-89EB-045E870F10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2718" y="2977786"/>
            <a:ext cx="2650992" cy="838579"/>
          </a:xfrm>
          <a:prstGeom prst="rect">
            <a:avLst/>
          </a:prstGeom>
        </p:spPr>
      </p:pic>
      <p:sp>
        <p:nvSpPr>
          <p:cNvPr id="31" name="Title 2">
            <a:extLst>
              <a:ext uri="{FF2B5EF4-FFF2-40B4-BE49-F238E27FC236}">
                <a16:creationId xmlns:a16="http://schemas.microsoft.com/office/drawing/2014/main" id="{D3762F6E-7E71-402C-A83D-B32C2BFDCCA7}"/>
              </a:ext>
            </a:extLst>
          </p:cNvPr>
          <p:cNvSpPr txBox="1">
            <a:spLocks/>
          </p:cNvSpPr>
          <p:nvPr/>
        </p:nvSpPr>
        <p:spPr>
          <a:xfrm>
            <a:off x="650323" y="2996953"/>
            <a:ext cx="860086" cy="7837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Before</a:t>
            </a:r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005947D0-E036-497E-B5BA-02A4FBF21967}"/>
              </a:ext>
            </a:extLst>
          </p:cNvPr>
          <p:cNvSpPr txBox="1">
            <a:spLocks/>
          </p:cNvSpPr>
          <p:nvPr/>
        </p:nvSpPr>
        <p:spPr>
          <a:xfrm>
            <a:off x="657720" y="3793510"/>
            <a:ext cx="860086" cy="7837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After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CD0702D6-77F4-4969-87E9-A56CCAC401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2718" y="3853678"/>
            <a:ext cx="2759196" cy="91973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CBD7D57-6FE7-4D94-ABF8-8524D42BA2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28207" y="985531"/>
            <a:ext cx="4383004" cy="3351027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928997C-3AC7-4623-B601-DCC6EC4FAD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22718" y="4773410"/>
            <a:ext cx="2039293" cy="951670"/>
          </a:xfrm>
          <a:prstGeom prst="rect">
            <a:avLst/>
          </a:prstGeom>
        </p:spPr>
      </p:pic>
      <p:sp>
        <p:nvSpPr>
          <p:cNvPr id="37" name="Title 2">
            <a:extLst>
              <a:ext uri="{FF2B5EF4-FFF2-40B4-BE49-F238E27FC236}">
                <a16:creationId xmlns:a16="http://schemas.microsoft.com/office/drawing/2014/main" id="{247A665B-AC3E-445E-B523-EA6ACD403250}"/>
              </a:ext>
            </a:extLst>
          </p:cNvPr>
          <p:cNvSpPr txBox="1">
            <a:spLocks/>
          </p:cNvSpPr>
          <p:nvPr/>
        </p:nvSpPr>
        <p:spPr>
          <a:xfrm>
            <a:off x="661013" y="4818987"/>
            <a:ext cx="2843786" cy="7837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Final Scores</a:t>
            </a:r>
          </a:p>
        </p:txBody>
      </p:sp>
      <p:sp>
        <p:nvSpPr>
          <p:cNvPr id="38" name="Title 2">
            <a:extLst>
              <a:ext uri="{FF2B5EF4-FFF2-40B4-BE49-F238E27FC236}">
                <a16:creationId xmlns:a16="http://schemas.microsoft.com/office/drawing/2014/main" id="{78CD94E9-25C8-4FC6-B861-764B3908904C}"/>
              </a:ext>
            </a:extLst>
          </p:cNvPr>
          <p:cNvSpPr txBox="1">
            <a:spLocks/>
          </p:cNvSpPr>
          <p:nvPr/>
        </p:nvSpPr>
        <p:spPr>
          <a:xfrm>
            <a:off x="628650" y="622583"/>
            <a:ext cx="10933350" cy="332399"/>
          </a:xfrm>
          <a:prstGeom prst="rect">
            <a:avLst/>
          </a:prstGeom>
          <a:ln cap="rnd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4000" dirty="0"/>
              <a:t>Appendix – </a:t>
            </a:r>
            <a:r>
              <a:rPr lang="en-US" sz="4000" dirty="0" err="1"/>
              <a:t>XGBoost</a:t>
            </a:r>
            <a:r>
              <a:rPr lang="en-US" sz="4000" dirty="0"/>
              <a:t> Scor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424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1" name="Rectangle 70">
            <a:extLst>
              <a:ext uri="{FF2B5EF4-FFF2-40B4-BE49-F238E27FC236}">
                <a16:creationId xmlns:a16="http://schemas.microsoft.com/office/drawing/2014/main" id="{E91DC736-0EF8-4F87-9146-EBF1D2EE4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97CD68E-23E3-4007-8847-CD0944C4F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9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2" descr="LendingClub">
            <a:extLst>
              <a:ext uri="{FF2B5EF4-FFF2-40B4-BE49-F238E27FC236}">
                <a16:creationId xmlns:a16="http://schemas.microsoft.com/office/drawing/2014/main" id="{E86B7017-7A63-4CAD-84A7-F4A877C75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095" y="2575826"/>
            <a:ext cx="6067461" cy="981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ee4pContent2">
            <a:extLst>
              <a:ext uri="{FF2B5EF4-FFF2-40B4-BE49-F238E27FC236}">
                <a16:creationId xmlns:a16="http://schemas.microsoft.com/office/drawing/2014/main" id="{E3FA7066-3F5A-4871-BF6B-70895EC025A0}"/>
              </a:ext>
            </a:extLst>
          </p:cNvPr>
          <p:cNvSpPr txBox="1"/>
          <p:nvPr/>
        </p:nvSpPr>
        <p:spPr>
          <a:xfrm>
            <a:off x="296328" y="5177075"/>
            <a:ext cx="6067461" cy="25380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C8102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C8102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C8102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*Personal Loans originated by Lending Club from 2008 - 2019</a:t>
            </a:r>
          </a:p>
        </p:txBody>
      </p:sp>
      <p:graphicFrame>
        <p:nvGraphicFramePr>
          <p:cNvPr id="11" name="Table 8">
            <a:extLst>
              <a:ext uri="{FF2B5EF4-FFF2-40B4-BE49-F238E27FC236}">
                <a16:creationId xmlns:a16="http://schemas.microsoft.com/office/drawing/2014/main" id="{2479E664-1468-4B48-A6D3-5005B38711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0108915"/>
              </p:ext>
            </p:extLst>
          </p:nvPr>
        </p:nvGraphicFramePr>
        <p:xfrm>
          <a:off x="296328" y="3681248"/>
          <a:ext cx="6067461" cy="13817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105148">
                  <a:extLst>
                    <a:ext uri="{9D8B030D-6E8A-4147-A177-3AD203B41FA5}">
                      <a16:colId xmlns:a16="http://schemas.microsoft.com/office/drawing/2014/main" val="743032521"/>
                    </a:ext>
                  </a:extLst>
                </a:gridCol>
                <a:gridCol w="1270660">
                  <a:extLst>
                    <a:ext uri="{9D8B030D-6E8A-4147-A177-3AD203B41FA5}">
                      <a16:colId xmlns:a16="http://schemas.microsoft.com/office/drawing/2014/main" val="1978388425"/>
                    </a:ext>
                  </a:extLst>
                </a:gridCol>
                <a:gridCol w="3691653">
                  <a:extLst>
                    <a:ext uri="{9D8B030D-6E8A-4147-A177-3AD203B41FA5}">
                      <a16:colId xmlns:a16="http://schemas.microsoft.com/office/drawing/2014/main" val="36433455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Raw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Final Data S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45513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Colum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1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19 (including classification target)</a:t>
                      </a:r>
                    </a:p>
                    <a:p>
                      <a:endParaRPr lang="en-US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576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Ro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2.7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840k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45477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38BCEE4-EBED-4102-AB81-4440F52ED490}"/>
              </a:ext>
            </a:extLst>
          </p:cNvPr>
          <p:cNvSpPr txBox="1"/>
          <p:nvPr/>
        </p:nvSpPr>
        <p:spPr>
          <a:xfrm>
            <a:off x="6958585" y="452167"/>
            <a:ext cx="459739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b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800" b="1" u="sng" dirty="0">
                <a:latin typeface="Helvetica" panose="020B0604020202020204" pitchFamily="34" charset="0"/>
                <a:cs typeface="Helvetica" panose="020B0604020202020204" pitchFamily="34" charset="0"/>
              </a:rPr>
              <a:t>Target Feature: </a:t>
            </a:r>
            <a:b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‘</a:t>
            </a:r>
            <a:r>
              <a:rPr lang="en-US" sz="1800" i="1" dirty="0">
                <a:latin typeface="Helvetica" panose="020B0604020202020204" pitchFamily="34" charset="0"/>
                <a:cs typeface="Helvetica" panose="020B0604020202020204" pitchFamily="34" charset="0"/>
              </a:rPr>
              <a:t>loan_status</a:t>
            </a: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’: [</a:t>
            </a:r>
            <a:r>
              <a:rPr lang="en-US" sz="1800" dirty="0">
                <a:highlight>
                  <a:srgbClr val="FFFF00"/>
                </a:highlight>
                <a:latin typeface="Helvetica" panose="020B0604020202020204" pitchFamily="34" charset="0"/>
                <a:cs typeface="Helvetica" panose="020B0604020202020204" pitchFamily="34" charset="0"/>
              </a:rPr>
              <a:t>Current</a:t>
            </a: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;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Fully Paid; </a:t>
            </a:r>
          </a:p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Charged Off; Late (31-120 days); In Grace Period; Late (16-30 days); </a:t>
            </a:r>
            <a:r>
              <a:rPr lang="en-US" sz="1800" dirty="0">
                <a:highlight>
                  <a:srgbClr val="FFFF00"/>
                </a:highlight>
                <a:latin typeface="Helvetica" panose="020B0604020202020204" pitchFamily="34" charset="0"/>
                <a:cs typeface="Helvetica" panose="020B0604020202020204" pitchFamily="34" charset="0"/>
              </a:rPr>
              <a:t>Default</a:t>
            </a: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]</a:t>
            </a:r>
          </a:p>
          <a:p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en-US" b="1" u="sng" dirty="0">
                <a:latin typeface="Helvetica" panose="020B0604020202020204" pitchFamily="34" charset="0"/>
                <a:cs typeface="Helvetica" panose="020B0604020202020204" pitchFamily="34" charset="0"/>
              </a:rPr>
              <a:t>Assumptions: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Any loan that isn’t late is considered </a:t>
            </a:r>
            <a:r>
              <a:rPr lang="en-US" i="1" dirty="0">
                <a:latin typeface="Helvetica" panose="020B0604020202020204" pitchFamily="34" charset="0"/>
                <a:cs typeface="Helvetica" panose="020B0604020202020204" pitchFamily="34" charset="0"/>
              </a:rPr>
              <a:t>current, 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will be repaid in full, and will pay interest during the entire life of the loan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Any loan that is late is considered in </a:t>
            </a:r>
            <a:r>
              <a:rPr lang="en-US" i="1" dirty="0">
                <a:latin typeface="Helvetica" panose="020B0604020202020204" pitchFamily="34" charset="0"/>
                <a:cs typeface="Helvetica" panose="020B0604020202020204" pitchFamily="34" charset="0"/>
              </a:rPr>
              <a:t>default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immediately with no interest paid and all money lost</a:t>
            </a:r>
          </a:p>
          <a:p>
            <a:endParaRPr lang="en-US" sz="18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82898C7A-D340-4861-BD4D-5393FD9DCD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3405" y="4139412"/>
            <a:ext cx="4286250" cy="255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5D4FEB6-9E4C-4BD6-8C77-7DB896018EBB}"/>
              </a:ext>
            </a:extLst>
          </p:cNvPr>
          <p:cNvCxnSpPr>
            <a:cxnSpLocks/>
          </p:cNvCxnSpPr>
          <p:nvPr/>
        </p:nvCxnSpPr>
        <p:spPr>
          <a:xfrm flipV="1">
            <a:off x="6630492" y="771988"/>
            <a:ext cx="0" cy="58811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D71DA938-AA5E-43D2-ACFC-845D7074929F}"/>
              </a:ext>
            </a:extLst>
          </p:cNvPr>
          <p:cNvSpPr txBox="1"/>
          <p:nvPr/>
        </p:nvSpPr>
        <p:spPr>
          <a:xfrm>
            <a:off x="380945" y="1336355"/>
            <a:ext cx="605744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u="sng" dirty="0">
                <a:latin typeface="Helvetica" panose="020B0604020202020204" pitchFamily="34" charset="0"/>
                <a:cs typeface="Helvetica" panose="020B0604020202020204" pitchFamily="34" charset="0"/>
              </a:rPr>
              <a:t>Business Problem:</a:t>
            </a:r>
            <a:b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800" i="1" dirty="0">
                <a:latin typeface="Helvetica" panose="020B0604020202020204" pitchFamily="34" charset="0"/>
                <a:cs typeface="Helvetica" panose="020B0604020202020204" pitchFamily="34" charset="0"/>
              </a:rPr>
              <a:t>Predict whether a P2P personal loan will be delinquent and use the analysis to recommend investments </a:t>
            </a:r>
            <a:r>
              <a:rPr lang="en-US" i="1" dirty="0">
                <a:latin typeface="Helvetica" panose="020B0604020202020204" pitchFamily="34" charset="0"/>
                <a:cs typeface="Helvetica" panose="020B0604020202020204" pitchFamily="34" charset="0"/>
              </a:rPr>
              <a:t>for retail investors. </a:t>
            </a:r>
            <a:b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9068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E77E854-AC62-49D9-8E01-664CC3279679}"/>
              </a:ext>
            </a:extLst>
          </p:cNvPr>
          <p:cNvCxnSpPr>
            <a:cxnSpLocks/>
          </p:cNvCxnSpPr>
          <p:nvPr/>
        </p:nvCxnSpPr>
        <p:spPr>
          <a:xfrm>
            <a:off x="6343328" y="3585188"/>
            <a:ext cx="1" cy="533560"/>
          </a:xfrm>
          <a:prstGeom prst="straightConnector1">
            <a:avLst/>
          </a:prstGeom>
          <a:ln w="889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622583"/>
            <a:ext cx="10933350" cy="332399"/>
          </a:xfrm>
          <a:ln cap="rnd">
            <a:noFill/>
          </a:ln>
        </p:spPr>
        <p:txBody>
          <a:bodyPr>
            <a:normAutofit fontScale="90000"/>
          </a:bodyPr>
          <a:lstStyle/>
          <a:p>
            <a:r>
              <a:rPr lang="en-US" dirty="0">
                <a:latin typeface="+mj-lt"/>
              </a:rPr>
              <a:t>Data Set - Overview</a:t>
            </a:r>
          </a:p>
        </p:txBody>
      </p:sp>
      <p:pic>
        <p:nvPicPr>
          <p:cNvPr id="10242" name="Picture 2" descr="Icon&#10;&#10;Description automatically generated">
            <a:extLst>
              <a:ext uri="{FF2B5EF4-FFF2-40B4-BE49-F238E27FC236}">
                <a16:creationId xmlns:a16="http://schemas.microsoft.com/office/drawing/2014/main" id="{3CFB06DE-24FB-4C35-972B-10898B6AE0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636" y="4118747"/>
            <a:ext cx="3695700" cy="2486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>
            <a:extLst>
              <a:ext uri="{FF2B5EF4-FFF2-40B4-BE49-F238E27FC236}">
                <a16:creationId xmlns:a16="http://schemas.microsoft.com/office/drawing/2014/main" id="{9EDFAC77-54E5-4E28-9496-0A13311CE3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8329" y="4118748"/>
            <a:ext cx="3752850" cy="2486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6">
            <a:extLst>
              <a:ext uri="{FF2B5EF4-FFF2-40B4-BE49-F238E27FC236}">
                <a16:creationId xmlns:a16="http://schemas.microsoft.com/office/drawing/2014/main" id="{ECD02BF3-26BB-4365-9F11-59E5230B91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8172" y="4118748"/>
            <a:ext cx="3752850" cy="2486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>
            <a:extLst>
              <a:ext uri="{FF2B5EF4-FFF2-40B4-BE49-F238E27FC236}">
                <a16:creationId xmlns:a16="http://schemas.microsoft.com/office/drawing/2014/main" id="{EF575A7D-76B9-45AF-BBD1-2FB3F8F1E7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3407" y="843853"/>
            <a:ext cx="3752850" cy="2486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249F5769-6C8C-4A98-B023-AB17656D638D}"/>
              </a:ext>
            </a:extLst>
          </p:cNvPr>
          <p:cNvSpPr txBox="1">
            <a:spLocks/>
          </p:cNvSpPr>
          <p:nvPr/>
        </p:nvSpPr>
        <p:spPr>
          <a:xfrm>
            <a:off x="415636" y="6493644"/>
            <a:ext cx="3695701" cy="3643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700" dirty="0">
                <a:latin typeface="Helvetica" panose="020B0604020202020204" pitchFamily="34" charset="0"/>
                <a:cs typeface="Helvetica" panose="020B0604020202020204" pitchFamily="34" charset="0"/>
              </a:rPr>
              <a:t>Default: 26,306 / Current: 26,306</a:t>
            </a:r>
          </a:p>
          <a:p>
            <a:pPr algn="ctr"/>
            <a:endParaRPr lang="en-US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 algn="ctr">
              <a:buNone/>
            </a:pPr>
            <a:endParaRPr lang="en-US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 algn="ctr">
              <a:buNone/>
            </a:pPr>
            <a:endParaRPr lang="en-US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297266FF-AA25-42A2-8479-15817B4A5C59}"/>
              </a:ext>
            </a:extLst>
          </p:cNvPr>
          <p:cNvSpPr txBox="1">
            <a:spLocks/>
          </p:cNvSpPr>
          <p:nvPr/>
        </p:nvSpPr>
        <p:spPr>
          <a:xfrm>
            <a:off x="4495478" y="6493644"/>
            <a:ext cx="3695701" cy="3643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700" dirty="0">
                <a:latin typeface="Helvetica" panose="020B0604020202020204" pitchFamily="34" charset="0"/>
                <a:cs typeface="Helvetica" panose="020B0604020202020204" pitchFamily="34" charset="0"/>
              </a:rPr>
              <a:t>Default: 9,002 / Current: 159,868</a:t>
            </a:r>
          </a:p>
          <a:p>
            <a:pPr algn="ctr"/>
            <a:endParaRPr lang="en-US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 algn="ctr">
              <a:buNone/>
            </a:pPr>
            <a:endParaRPr lang="en-US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 algn="ctr">
              <a:buNone/>
            </a:pPr>
            <a:endParaRPr lang="en-US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279E89C-4550-4E5B-A044-47CAE562AA74}"/>
              </a:ext>
            </a:extLst>
          </p:cNvPr>
          <p:cNvSpPr txBox="1">
            <a:spLocks/>
          </p:cNvSpPr>
          <p:nvPr/>
        </p:nvSpPr>
        <p:spPr>
          <a:xfrm>
            <a:off x="8575321" y="6493644"/>
            <a:ext cx="3695701" cy="3643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700" dirty="0">
                <a:latin typeface="Helvetica" panose="020B0604020202020204" pitchFamily="34" charset="0"/>
                <a:cs typeface="Helvetica" panose="020B0604020202020204" pitchFamily="34" charset="0"/>
              </a:rPr>
              <a:t>Default: 8,870 / Current: 160,001</a:t>
            </a:r>
          </a:p>
          <a:p>
            <a:pPr algn="ctr"/>
            <a:endParaRPr lang="en-US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 algn="ctr">
              <a:buNone/>
            </a:pPr>
            <a:endParaRPr lang="en-US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 algn="ctr">
              <a:buNone/>
            </a:pPr>
            <a:endParaRPr lang="en-US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717F130E-96AA-407D-954B-E0AB4C078D5A}"/>
              </a:ext>
            </a:extLst>
          </p:cNvPr>
          <p:cNvSpPr txBox="1">
            <a:spLocks/>
          </p:cNvSpPr>
          <p:nvPr/>
        </p:nvSpPr>
        <p:spPr>
          <a:xfrm>
            <a:off x="4495478" y="3220832"/>
            <a:ext cx="3695701" cy="3643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700" dirty="0">
                <a:latin typeface="Helvetica" panose="020B0604020202020204" pitchFamily="34" charset="0"/>
                <a:cs typeface="Helvetica" panose="020B0604020202020204" pitchFamily="34" charset="0"/>
              </a:rPr>
              <a:t>Default: 44,178** / Current: 800,173</a:t>
            </a:r>
          </a:p>
          <a:p>
            <a:pPr marL="0" indent="0" algn="ctr">
              <a:buNone/>
            </a:pPr>
            <a:endParaRPr lang="en-US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5520EE5-6EE5-4219-A687-FCD803C5A3A7}"/>
              </a:ext>
            </a:extLst>
          </p:cNvPr>
          <p:cNvCxnSpPr>
            <a:cxnSpLocks/>
          </p:cNvCxnSpPr>
          <p:nvPr/>
        </p:nvCxnSpPr>
        <p:spPr>
          <a:xfrm flipH="1">
            <a:off x="2526631" y="3088378"/>
            <a:ext cx="1584705" cy="937498"/>
          </a:xfrm>
          <a:prstGeom prst="straightConnector1">
            <a:avLst/>
          </a:prstGeom>
          <a:ln w="889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251FA5C-2460-4070-A0E2-9F3B1C77EB63}"/>
              </a:ext>
            </a:extLst>
          </p:cNvPr>
          <p:cNvCxnSpPr>
            <a:cxnSpLocks/>
          </p:cNvCxnSpPr>
          <p:nvPr/>
        </p:nvCxnSpPr>
        <p:spPr>
          <a:xfrm>
            <a:off x="8248328" y="3081804"/>
            <a:ext cx="1584705" cy="937498"/>
          </a:xfrm>
          <a:prstGeom prst="straightConnector1">
            <a:avLst/>
          </a:prstGeom>
          <a:ln w="889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5ED310AD-2BBB-482A-9F27-EC71908D9C50}"/>
              </a:ext>
            </a:extLst>
          </p:cNvPr>
          <p:cNvSpPr txBox="1"/>
          <p:nvPr/>
        </p:nvSpPr>
        <p:spPr>
          <a:xfrm>
            <a:off x="2767094" y="3061445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0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F3B053D-DB80-4A72-8867-07674AD695D2}"/>
              </a:ext>
            </a:extLst>
          </p:cNvPr>
          <p:cNvSpPr txBox="1"/>
          <p:nvPr/>
        </p:nvSpPr>
        <p:spPr>
          <a:xfrm>
            <a:off x="8841092" y="3036166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0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6B7DB1A-1213-4092-AB7B-9BC84B2456BD}"/>
              </a:ext>
            </a:extLst>
          </p:cNvPr>
          <p:cNvSpPr txBox="1"/>
          <p:nvPr/>
        </p:nvSpPr>
        <p:spPr>
          <a:xfrm>
            <a:off x="6445989" y="3585188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0%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35F33C55-6A16-4991-9551-71831A606133}"/>
              </a:ext>
            </a:extLst>
          </p:cNvPr>
          <p:cNvSpPr txBox="1">
            <a:spLocks/>
          </p:cNvSpPr>
          <p:nvPr/>
        </p:nvSpPr>
        <p:spPr>
          <a:xfrm>
            <a:off x="8035313" y="1127867"/>
            <a:ext cx="3695701" cy="5084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latin typeface="Helvetica" panose="020B0604020202020204" pitchFamily="34" charset="0"/>
                <a:cs typeface="Helvetica" panose="020B0604020202020204" pitchFamily="34" charset="0"/>
              </a:rPr>
              <a:t>**The average default rate for personal loans is 2.5%, as of 2021.</a:t>
            </a:r>
          </a:p>
          <a:p>
            <a:pPr algn="ctr"/>
            <a:endParaRPr lang="en-US" sz="12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 algn="ctr">
              <a:buNone/>
            </a:pPr>
            <a:endParaRPr lang="en-US" sz="12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 algn="ctr">
              <a:buNone/>
            </a:pPr>
            <a:endParaRPr lang="en-US" sz="12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6533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F0618178-4B5C-46A4-9E68-052C31FA6E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4708357" y="3509963"/>
            <a:ext cx="7092215" cy="2967839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77A067A-0283-468E-83F0-440AF0181C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1821" y="3812954"/>
            <a:ext cx="6465287" cy="151601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>
                <a:solidFill>
                  <a:srgbClr val="FFFFFF"/>
                </a:solidFill>
              </a:rPr>
              <a:t>Fitting &amp; Scoring Models</a:t>
            </a:r>
          </a:p>
        </p:txBody>
      </p:sp>
      <p:pic>
        <p:nvPicPr>
          <p:cNvPr id="14" name="Picture 13" descr="Chart, line chart&#10;&#10;Description automatically generated">
            <a:extLst>
              <a:ext uri="{FF2B5EF4-FFF2-40B4-BE49-F238E27FC236}">
                <a16:creationId xmlns:a16="http://schemas.microsoft.com/office/drawing/2014/main" id="{19E905D7-D9B2-4439-83BA-031F7D5E64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533" y="407787"/>
            <a:ext cx="3551791" cy="2793954"/>
          </a:xfrm>
          <a:prstGeom prst="rect">
            <a:avLst/>
          </a:prstGeom>
        </p:spPr>
      </p:pic>
      <p:pic>
        <p:nvPicPr>
          <p:cNvPr id="10" name="Picture 9" descr="Chart, line chart&#10;&#10;Description automatically generated">
            <a:extLst>
              <a:ext uri="{FF2B5EF4-FFF2-40B4-BE49-F238E27FC236}">
                <a16:creationId xmlns:a16="http://schemas.microsoft.com/office/drawing/2014/main" id="{9859A33D-027D-4BC2-8A77-4652FEB966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64868" y="418298"/>
            <a:ext cx="3551791" cy="2811834"/>
          </a:xfrm>
          <a:prstGeom prst="rect">
            <a:avLst/>
          </a:prstGeom>
        </p:spPr>
      </p:pic>
      <p:pic>
        <p:nvPicPr>
          <p:cNvPr id="8" name="Picture 7" descr="Chart, line chart&#10;&#10;Description automatically generated">
            <a:extLst>
              <a:ext uri="{FF2B5EF4-FFF2-40B4-BE49-F238E27FC236}">
                <a16:creationId xmlns:a16="http://schemas.microsoft.com/office/drawing/2014/main" id="{118EDC6F-0099-4B0D-8556-966E3CE71E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91203" y="450556"/>
            <a:ext cx="3551791" cy="2791355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36FD40B-09C1-46D7-9E32-CC9BD7629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138287" y="5443086"/>
            <a:ext cx="6400800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782C4B9A-3187-49CA-8C51-4587143B1A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533" y="3712202"/>
            <a:ext cx="3551791" cy="279866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879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EE9BAB-D82D-4A1F-A9D9-3021289A0715}"/>
              </a:ext>
            </a:extLst>
          </p:cNvPr>
          <p:cNvCxnSpPr>
            <a:cxnSpLocks/>
          </p:cNvCxnSpPr>
          <p:nvPr/>
        </p:nvCxnSpPr>
        <p:spPr>
          <a:xfrm>
            <a:off x="1033154" y="1175656"/>
            <a:ext cx="103434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3DA4090-E9EE-4853-A78C-28D1646BA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nalysis – Measuring Success with ARR</a:t>
            </a:r>
          </a:p>
        </p:txBody>
      </p:sp>
      <p:pic>
        <p:nvPicPr>
          <p:cNvPr id="8200" name="Picture 8" descr="Annual Return Formula | How to Calculate Annual Return? (Example)">
            <a:extLst>
              <a:ext uri="{FF2B5EF4-FFF2-40B4-BE49-F238E27FC236}">
                <a16:creationId xmlns:a16="http://schemas.microsoft.com/office/drawing/2014/main" id="{FD8F6975-9F12-4355-A998-AB1700FDD2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382" y="2492521"/>
            <a:ext cx="4786434" cy="2458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Subtitle 2">
            <a:extLst>
              <a:ext uri="{FF2B5EF4-FFF2-40B4-BE49-F238E27FC236}">
                <a16:creationId xmlns:a16="http://schemas.microsoft.com/office/drawing/2014/main" id="{871041DE-F53E-407D-8478-6293A8B7EC20}"/>
              </a:ext>
            </a:extLst>
          </p:cNvPr>
          <p:cNvSpPr txBox="1">
            <a:spLocks/>
          </p:cNvSpPr>
          <p:nvPr/>
        </p:nvSpPr>
        <p:spPr>
          <a:xfrm>
            <a:off x="5910743" y="4890242"/>
            <a:ext cx="4951611" cy="314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  <a:t>Initial Loan Investment + Interest Income – Defaulted Loans</a:t>
            </a:r>
          </a:p>
        </p:txBody>
      </p:sp>
      <p:sp>
        <p:nvSpPr>
          <p:cNvPr id="64" name="Subtitle 2">
            <a:extLst>
              <a:ext uri="{FF2B5EF4-FFF2-40B4-BE49-F238E27FC236}">
                <a16:creationId xmlns:a16="http://schemas.microsoft.com/office/drawing/2014/main" id="{696A0FBA-3F2B-4B9A-BF4B-898135ED2AD1}"/>
              </a:ext>
            </a:extLst>
          </p:cNvPr>
          <p:cNvSpPr txBox="1">
            <a:spLocks/>
          </p:cNvSpPr>
          <p:nvPr/>
        </p:nvSpPr>
        <p:spPr>
          <a:xfrm>
            <a:off x="6019800" y="5342012"/>
            <a:ext cx="4842554" cy="314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dirty="0">
                <a:latin typeface="Helvetica" panose="020B0604020202020204" pitchFamily="34" charset="0"/>
                <a:cs typeface="Helvetica" panose="020B0604020202020204" pitchFamily="34" charset="0"/>
              </a:rPr>
              <a:t>Initial Loan Investment</a:t>
            </a: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B28B033D-AF83-44C3-AC93-5C8FF10F95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2724" y="4656212"/>
            <a:ext cx="1143000" cy="685800"/>
          </a:xfrm>
          <a:prstGeom prst="rect">
            <a:avLst/>
          </a:prstGeom>
        </p:spPr>
      </p:pic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71A9CE2-5BD8-42F1-92AA-5AFBB4B0AFC9}"/>
              </a:ext>
            </a:extLst>
          </p:cNvPr>
          <p:cNvCxnSpPr>
            <a:cxnSpLocks/>
          </p:cNvCxnSpPr>
          <p:nvPr/>
        </p:nvCxnSpPr>
        <p:spPr>
          <a:xfrm>
            <a:off x="6019800" y="5204758"/>
            <a:ext cx="4699000" cy="32039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Arrow: Down 44">
            <a:extLst>
              <a:ext uri="{FF2B5EF4-FFF2-40B4-BE49-F238E27FC236}">
                <a16:creationId xmlns:a16="http://schemas.microsoft.com/office/drawing/2014/main" id="{0FD7319D-D535-43B8-B422-92161FEA62D3}"/>
              </a:ext>
            </a:extLst>
          </p:cNvPr>
          <p:cNvSpPr/>
          <p:nvPr/>
        </p:nvSpPr>
        <p:spPr>
          <a:xfrm>
            <a:off x="8256927" y="3721850"/>
            <a:ext cx="368300" cy="101599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729BCAE0-6922-4D18-ABD1-1FA565F1EC3A}"/>
              </a:ext>
            </a:extLst>
          </p:cNvPr>
          <p:cNvCxnSpPr>
            <a:cxnSpLocks/>
          </p:cNvCxnSpPr>
          <p:nvPr/>
        </p:nvCxnSpPr>
        <p:spPr>
          <a:xfrm flipH="1" flipV="1">
            <a:off x="5758883" y="1678116"/>
            <a:ext cx="0" cy="44805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0" name="Picture 69">
            <a:extLst>
              <a:ext uri="{FF2B5EF4-FFF2-40B4-BE49-F238E27FC236}">
                <a16:creationId xmlns:a16="http://schemas.microsoft.com/office/drawing/2014/main" id="{5319D263-2CAD-464F-B625-F449A42692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72447" y="2692100"/>
            <a:ext cx="4446353" cy="8724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75241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3DA4090-E9EE-4853-A78C-28D1646BA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nalysis – Measuring Success with ARR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7FC58450-B38F-45AA-AC9B-2DDD6E4C1346}"/>
              </a:ext>
            </a:extLst>
          </p:cNvPr>
          <p:cNvSpPr txBox="1">
            <a:spLocks/>
          </p:cNvSpPr>
          <p:nvPr/>
        </p:nvSpPr>
        <p:spPr>
          <a:xfrm>
            <a:off x="9328760" y="1153178"/>
            <a:ext cx="2325523" cy="3184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u="sng" dirty="0" err="1">
                <a:latin typeface="Helvetica" panose="020B0604020202020204" pitchFamily="34" charset="0"/>
                <a:cs typeface="Helvetica" panose="020B0604020202020204" pitchFamily="34" charset="0"/>
              </a:rPr>
              <a:t>XGBoost</a:t>
            </a:r>
            <a:r>
              <a:rPr lang="en-US" sz="1400" u="sng" dirty="0">
                <a:latin typeface="Helvetica" panose="020B0604020202020204" pitchFamily="34" charset="0"/>
                <a:cs typeface="Helvetica" panose="020B0604020202020204" pitchFamily="34" charset="0"/>
              </a:rPr>
              <a:t> – Threshold: 0.99</a:t>
            </a: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81417667-2C51-4B4B-AAFA-DDFC7EFC371C}"/>
              </a:ext>
            </a:extLst>
          </p:cNvPr>
          <p:cNvSpPr txBox="1">
            <a:spLocks/>
          </p:cNvSpPr>
          <p:nvPr/>
        </p:nvSpPr>
        <p:spPr>
          <a:xfrm>
            <a:off x="9258575" y="6342683"/>
            <a:ext cx="2465891" cy="4434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u="sng" dirty="0">
                <a:latin typeface="Helvetica" panose="020B0604020202020204" pitchFamily="34" charset="0"/>
                <a:cs typeface="Helvetica" panose="020B0604020202020204" pitchFamily="34" charset="0"/>
              </a:rPr>
              <a:t>Random F. – Threshold: 0.90</a:t>
            </a: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1597A015-AD83-46B3-9E81-EC90FA5FE825}"/>
              </a:ext>
            </a:extLst>
          </p:cNvPr>
          <p:cNvSpPr txBox="1">
            <a:spLocks/>
          </p:cNvSpPr>
          <p:nvPr/>
        </p:nvSpPr>
        <p:spPr>
          <a:xfrm>
            <a:off x="388880" y="1153177"/>
            <a:ext cx="2325523" cy="3184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u="sng" dirty="0" err="1">
                <a:latin typeface="Helvetica" panose="020B0604020202020204" pitchFamily="34" charset="0"/>
                <a:cs typeface="Helvetica" panose="020B0604020202020204" pitchFamily="34" charset="0"/>
              </a:rPr>
              <a:t>LogReg</a:t>
            </a:r>
            <a:r>
              <a:rPr lang="en-US" sz="1400" u="sng" dirty="0">
                <a:latin typeface="Helvetica" panose="020B0604020202020204" pitchFamily="34" charset="0"/>
                <a:cs typeface="Helvetica" panose="020B0604020202020204" pitchFamily="34" charset="0"/>
              </a:rPr>
              <a:t> – Threshold: 0.89</a:t>
            </a: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06F751C0-5FD4-41E9-8913-578C18AD6B15}"/>
              </a:ext>
            </a:extLst>
          </p:cNvPr>
          <p:cNvSpPr txBox="1">
            <a:spLocks/>
          </p:cNvSpPr>
          <p:nvPr/>
        </p:nvSpPr>
        <p:spPr>
          <a:xfrm>
            <a:off x="388880" y="6284602"/>
            <a:ext cx="2325523" cy="3184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u="sng" dirty="0" err="1">
                <a:latin typeface="Helvetica" panose="020B0604020202020204" pitchFamily="34" charset="0"/>
                <a:cs typeface="Helvetica" panose="020B0604020202020204" pitchFamily="34" charset="0"/>
              </a:rPr>
              <a:t>kNN</a:t>
            </a:r>
            <a:r>
              <a:rPr lang="en-US" sz="1400" u="sng" dirty="0">
                <a:latin typeface="Helvetica" panose="020B0604020202020204" pitchFamily="34" charset="0"/>
                <a:cs typeface="Helvetica" panose="020B0604020202020204" pitchFamily="34" charset="0"/>
              </a:rPr>
              <a:t> – Threshold: 0.90</a:t>
            </a: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AFE7199-2238-4B99-8C4A-3280A01A4E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7147" y="1091286"/>
            <a:ext cx="3600450" cy="275272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B8161D2-E1A9-439D-8A23-60EA0343FB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6339" y="3967160"/>
            <a:ext cx="3600450" cy="27527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A3F9785-6F68-44D7-AEE0-4A66E04C36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85889" y="1053209"/>
            <a:ext cx="3600450" cy="275272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EF1CE11-D58E-440D-9B1D-21E2F97F3A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76697" y="3855100"/>
            <a:ext cx="3600450" cy="2752725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29F6D26-8018-4082-A049-B5F76B63925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00478" y="3203836"/>
            <a:ext cx="8791044" cy="102629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2976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EE9BAB-D82D-4A1F-A9D9-3021289A0715}"/>
              </a:ext>
            </a:extLst>
          </p:cNvPr>
          <p:cNvCxnSpPr>
            <a:cxnSpLocks/>
          </p:cNvCxnSpPr>
          <p:nvPr/>
        </p:nvCxnSpPr>
        <p:spPr>
          <a:xfrm>
            <a:off x="1033154" y="1175656"/>
            <a:ext cx="103434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3DA4090-E9EE-4853-A78C-28D1646BA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nalysis – Measuring Success with ARR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071D4A87-3E5A-4379-BFB3-0D0B532204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7934" y="2182293"/>
            <a:ext cx="4504068" cy="3443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C466C50-6113-4764-B9B2-F04472E29F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000" y="2182293"/>
            <a:ext cx="4504068" cy="3443586"/>
          </a:xfrm>
          <a:prstGeom prst="rect">
            <a:avLst/>
          </a:prstGeom>
        </p:spPr>
      </p:pic>
      <p:sp>
        <p:nvSpPr>
          <p:cNvPr id="4" name="Arrow: Right 3">
            <a:extLst>
              <a:ext uri="{FF2B5EF4-FFF2-40B4-BE49-F238E27FC236}">
                <a16:creationId xmlns:a16="http://schemas.microsoft.com/office/drawing/2014/main" id="{AB302C4B-66D7-4123-A8F8-032672423699}"/>
              </a:ext>
            </a:extLst>
          </p:cNvPr>
          <p:cNvSpPr/>
          <p:nvPr/>
        </p:nvSpPr>
        <p:spPr>
          <a:xfrm>
            <a:off x="5643384" y="3470954"/>
            <a:ext cx="1122947" cy="2887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0935A25-14A7-4669-9CFE-7C6A8B0A654C}"/>
              </a:ext>
            </a:extLst>
          </p:cNvPr>
          <p:cNvSpPr txBox="1">
            <a:spLocks/>
          </p:cNvSpPr>
          <p:nvPr/>
        </p:nvSpPr>
        <p:spPr>
          <a:xfrm>
            <a:off x="8886605" y="1754181"/>
            <a:ext cx="837759" cy="3184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u="sng" dirty="0">
                <a:latin typeface="Helvetica" panose="020B0604020202020204" pitchFamily="34" charset="0"/>
                <a:cs typeface="Helvetica" panose="020B0604020202020204" pitchFamily="34" charset="0"/>
              </a:rPr>
              <a:t>Model B</a:t>
            </a: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72E70DEF-3D99-47D8-9A8C-2F52DB5CB651}"/>
              </a:ext>
            </a:extLst>
          </p:cNvPr>
          <p:cNvSpPr txBox="1">
            <a:spLocks/>
          </p:cNvSpPr>
          <p:nvPr/>
        </p:nvSpPr>
        <p:spPr>
          <a:xfrm>
            <a:off x="2467636" y="1754182"/>
            <a:ext cx="828796" cy="3184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u="sng" dirty="0">
                <a:latin typeface="Helvetica" panose="020B0604020202020204" pitchFamily="34" charset="0"/>
                <a:cs typeface="Helvetica" panose="020B0604020202020204" pitchFamily="34" charset="0"/>
              </a:rPr>
              <a:t>Model A</a:t>
            </a: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0672837-AB35-4C43-8A77-9DC1868DD6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0697" y="5625879"/>
            <a:ext cx="4110605" cy="8757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017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622583"/>
            <a:ext cx="10933350" cy="332399"/>
          </a:xfrm>
          <a:ln cap="rnd">
            <a:noFill/>
          </a:ln>
        </p:spPr>
        <p:txBody>
          <a:bodyPr>
            <a:normAutofit fontScale="90000"/>
          </a:bodyPr>
          <a:lstStyle/>
          <a:p>
            <a:r>
              <a:rPr lang="en-US" dirty="0"/>
              <a:t>Looking Forward (Micro vs. Macro)</a:t>
            </a:r>
            <a:endParaRPr lang="en-US" dirty="0">
              <a:latin typeface="+mj-lt"/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8605CB7-1ABF-4D2D-8261-35EC2BD013D7}"/>
              </a:ext>
            </a:extLst>
          </p:cNvPr>
          <p:cNvSpPr txBox="1">
            <a:spLocks/>
          </p:cNvSpPr>
          <p:nvPr/>
        </p:nvSpPr>
        <p:spPr>
          <a:xfrm>
            <a:off x="7461904" y="4292767"/>
            <a:ext cx="4413263" cy="190872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Lower default rates concentrated in the NE and NW of the United States.</a:t>
            </a:r>
          </a:p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Is this reflective of economic conditions?</a:t>
            </a:r>
          </a:p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Using loan credit risk to narrate macroeconomic trend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915FA7D-06BC-4DB9-8C79-CABE6FD3FA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650" y="3870841"/>
            <a:ext cx="4821834" cy="276484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45D447F-DBD0-424E-ADBF-18184F3E22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72050" y="5536377"/>
            <a:ext cx="1601026" cy="69904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74BB979-BA40-4FC9-A615-20F5A7EDED63}"/>
              </a:ext>
            </a:extLst>
          </p:cNvPr>
          <p:cNvCxnSpPr>
            <a:cxnSpLocks/>
          </p:cNvCxnSpPr>
          <p:nvPr/>
        </p:nvCxnSpPr>
        <p:spPr>
          <a:xfrm>
            <a:off x="924296" y="3770467"/>
            <a:ext cx="103434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3BCC255D-BC88-4410-9F0C-BDFC4CA721A4}"/>
              </a:ext>
            </a:extLst>
          </p:cNvPr>
          <p:cNvSpPr txBox="1">
            <a:spLocks/>
          </p:cNvSpPr>
          <p:nvPr/>
        </p:nvSpPr>
        <p:spPr>
          <a:xfrm>
            <a:off x="6095325" y="1440217"/>
            <a:ext cx="5054444" cy="201978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Model out specific loans from data set that are predicted to perform well</a:t>
            </a:r>
          </a:p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Choose individual loans and calculate with a more nuanced ARR model</a:t>
            </a:r>
          </a:p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Minimize default rates, the delinquency rate (60 days or more past due) is 2.5%</a:t>
            </a:r>
          </a:p>
        </p:txBody>
      </p:sp>
      <p:pic>
        <p:nvPicPr>
          <p:cNvPr id="7170" name="Picture 2" descr="Business growth graph Free Vector">
            <a:extLst>
              <a:ext uri="{FF2B5EF4-FFF2-40B4-BE49-F238E27FC236}">
                <a16:creationId xmlns:a16="http://schemas.microsoft.com/office/drawing/2014/main" id="{099E051C-0C45-4BCF-BDB3-0CEBBD4D3B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" y="1228386"/>
            <a:ext cx="4821834" cy="245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082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622583"/>
            <a:ext cx="10933350" cy="332399"/>
          </a:xfrm>
          <a:ln cap="rnd">
            <a:noFill/>
          </a:ln>
        </p:spPr>
        <p:txBody>
          <a:bodyPr>
            <a:normAutofit fontScale="90000"/>
          </a:bodyPr>
          <a:lstStyle/>
          <a:p>
            <a:r>
              <a:rPr lang="en-US" dirty="0">
                <a:latin typeface="+mj-lt"/>
              </a:rPr>
              <a:t>Appendix – Feature List and E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AEF987-CAB2-40BB-A357-F8C07270C9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391" y="1250044"/>
            <a:ext cx="4740442" cy="541579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7F69346-D451-47BF-8A48-E9D1A32F36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1167" y="1250044"/>
            <a:ext cx="4740442" cy="526838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769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Section header line"/>
  <p:tag name="EE4P_LAYOUT_ID" val="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1430</TotalTime>
  <Words>399</Words>
  <Application>Microsoft Office PowerPoint</Application>
  <PresentationFormat>Widescreen</PresentationFormat>
  <Paragraphs>80</Paragraphs>
  <Slides>10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Helvetica</vt:lpstr>
      <vt:lpstr>Trebuchet MS</vt:lpstr>
      <vt:lpstr>Office Theme</vt:lpstr>
      <vt:lpstr>Classification (January 2022)</vt:lpstr>
      <vt:lpstr>PowerPoint Presentation</vt:lpstr>
      <vt:lpstr>Data Set - Overview</vt:lpstr>
      <vt:lpstr>Fitting &amp; Scoring Models</vt:lpstr>
      <vt:lpstr>Analysis – Measuring Success with ARR</vt:lpstr>
      <vt:lpstr>Analysis – Measuring Success with ARR</vt:lpstr>
      <vt:lpstr>Analysis – Measuring Success with ARR</vt:lpstr>
      <vt:lpstr>Looking Forward (Micro vs. Macro)</vt:lpstr>
      <vt:lpstr>Appendix – Feature List and EDA</vt:lpstr>
      <vt:lpstr>XGBoost Mode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ification (January 2022)</dc:title>
  <dc:creator>Jay  Yee</dc:creator>
  <cp:lastModifiedBy>Jay  Yee</cp:lastModifiedBy>
  <cp:revision>6</cp:revision>
  <dcterms:created xsi:type="dcterms:W3CDTF">2022-01-25T04:59:15Z</dcterms:created>
  <dcterms:modified xsi:type="dcterms:W3CDTF">2022-01-26T04:49:34Z</dcterms:modified>
</cp:coreProperties>
</file>